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22"/>
  </p:notesMasterIdLst>
  <p:handoutMasterIdLst>
    <p:handoutMasterId r:id="rId23"/>
  </p:handoutMasterIdLst>
  <p:sldIdLst>
    <p:sldId id="273" r:id="rId6"/>
    <p:sldId id="268" r:id="rId7"/>
    <p:sldId id="270" r:id="rId8"/>
    <p:sldId id="267" r:id="rId9"/>
    <p:sldId id="293" r:id="rId10"/>
    <p:sldId id="271" r:id="rId11"/>
    <p:sldId id="277" r:id="rId12"/>
    <p:sldId id="278" r:id="rId13"/>
    <p:sldId id="264" r:id="rId14"/>
    <p:sldId id="272" r:id="rId15"/>
    <p:sldId id="265" r:id="rId16"/>
    <p:sldId id="274" r:id="rId17"/>
    <p:sldId id="280" r:id="rId18"/>
    <p:sldId id="279" r:id="rId19"/>
    <p:sldId id="275" r:id="rId20"/>
    <p:sldId id="292" r:id="rId21"/>
  </p:sldIdLst>
  <p:sldSz cx="9144000" cy="6858000" type="screen4x3"/>
  <p:notesSz cx="6858000" cy="9144000"/>
  <p:custDataLst>
    <p:tags r:id="rId24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4" clrIdx="0">
    <p:extLst/>
  </p:cmAuthor>
  <p:cmAuthor id="2" name="Ribeiro, Leonardo" initials="RL" lastIdx="16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3B9"/>
    <a:srgbClr val="359B4C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79100" autoAdjust="0"/>
  </p:normalViewPr>
  <p:slideViewPr>
    <p:cSldViewPr snapToGrid="0" showGuides="1">
      <p:cViewPr varScale="1">
        <p:scale>
          <a:sx n="70" d="100"/>
          <a:sy n="70" d="100"/>
        </p:scale>
        <p:origin x="2004" y="78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3D13EE75-9B09-4398-AC81-D80F0A81E322}" type="presOf" srcId="{B4AC21DC-EC9A-40FF-B178-A91C2EADC8C6}" destId="{BD007EEB-61A5-4C7D-B8A4-8E994164C878}" srcOrd="2" destOrd="0" presId="urn:microsoft.com/office/officeart/2005/8/layout/gear1"/>
    <dgm:cxn modelId="{CFED20AD-9F9D-4042-887C-69BC43C99710}" type="presOf" srcId="{A67CEFC1-6D07-4C9E-8B9B-16F4DFA5DE31}" destId="{E2C9D73F-FB76-4109-9C3B-CDD964B9A9DF}" srcOrd="0" destOrd="0" presId="urn:microsoft.com/office/officeart/2005/8/layout/gear1"/>
    <dgm:cxn modelId="{8AC0D149-2C79-4ADE-A6F2-1D1A0E09CF92}" type="presOf" srcId="{B4AC21DC-EC9A-40FF-B178-A91C2EADC8C6}" destId="{2427AE9A-B7B7-44EE-9688-471A19F67348}" srcOrd="0" destOrd="0" presId="urn:microsoft.com/office/officeart/2005/8/layout/gear1"/>
    <dgm:cxn modelId="{FF05D255-36BB-40F1-872C-246A625FA0DD}" type="presOf" srcId="{B5CFEF5D-6A3C-420A-ADD2-365C63B302B9}" destId="{8DC6C1E0-B984-4F7F-A090-7E6A8EDF7369}" srcOrd="2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6F96FE78-96D3-4BB8-8B22-87644B6461B7}" type="presOf" srcId="{A67CEFC1-6D07-4C9E-8B9B-16F4DFA5DE31}" destId="{9508E0F8-14DF-4543-B5FB-A17B54BCD50D}" srcOrd="1" destOrd="0" presId="urn:microsoft.com/office/officeart/2005/8/layout/gear1"/>
    <dgm:cxn modelId="{48EE5B24-72F8-4F3A-8A40-37CB955E4BD1}" type="presOf" srcId="{B5CFEF5D-6A3C-420A-ADD2-365C63B302B9}" destId="{D9CF0B2A-E4E4-4B79-9291-B91AB5224007}" srcOrd="0" destOrd="0" presId="urn:microsoft.com/office/officeart/2005/8/layout/gear1"/>
    <dgm:cxn modelId="{5F8B70BA-3D27-4311-B23C-9DA62E2DC267}" type="presOf" srcId="{B4AC21DC-EC9A-40FF-B178-A91C2EADC8C6}" destId="{473C5192-4D9E-4697-8CA4-283C87844328}" srcOrd="1" destOrd="0" presId="urn:microsoft.com/office/officeart/2005/8/layout/gear1"/>
    <dgm:cxn modelId="{0295F0AF-1B7A-481B-9000-F777462F89A3}" type="presOf" srcId="{89543BFC-411C-4932-84AF-F95B3D323F93}" destId="{2EA225CC-2E49-44ED-8CC1-3CCBF84AD379}" srcOrd="0" destOrd="0" presId="urn:microsoft.com/office/officeart/2005/8/layout/gear1"/>
    <dgm:cxn modelId="{75EAC7F6-3BC5-4B48-8E4C-C38C7F1FE01C}" type="presOf" srcId="{B5CFEF5D-6A3C-420A-ADD2-365C63B302B9}" destId="{1C9BEAEE-8AF8-4D52-8651-CC1937F1A321}" srcOrd="1" destOrd="0" presId="urn:microsoft.com/office/officeart/2005/8/layout/gear1"/>
    <dgm:cxn modelId="{68C972EA-32A5-44CE-A7A0-8AEBDBADB98B}" type="presOf" srcId="{2EF8CFD4-E9EA-4BA0-9A33-C8F1A9BA201E}" destId="{0D328973-7EA0-4BDA-8345-B35D0D5F9918}" srcOrd="0" destOrd="0" presId="urn:microsoft.com/office/officeart/2005/8/layout/gear1"/>
    <dgm:cxn modelId="{638CF031-5FD6-4AEF-AA89-F18596E5A214}" type="presOf" srcId="{B4AC21DC-EC9A-40FF-B178-A91C2EADC8C6}" destId="{746F4FA9-5757-4AAD-9A04-5E552DBB9F9F}" srcOrd="3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01252459-D559-479E-96E8-D74B730AE324}" type="presOf" srcId="{A67CEFC1-6D07-4C9E-8B9B-16F4DFA5DE31}" destId="{00883E4F-EDF6-4DBF-8F50-80F81724BAB1}" srcOrd="2" destOrd="0" presId="urn:microsoft.com/office/officeart/2005/8/layout/gear1"/>
    <dgm:cxn modelId="{F2BFAF59-2747-4358-ABD7-E905445C02C7}" type="presOf" srcId="{0DEF3A54-425B-425D-9087-3815B7A4B7CF}" destId="{A6069DFB-10A0-41DC-94CF-D614D68D696C}" srcOrd="0" destOrd="0" presId="urn:microsoft.com/office/officeart/2005/8/layout/gear1"/>
    <dgm:cxn modelId="{C9871D80-86A6-4EF2-AE48-7B373DDD61D4}" type="presOf" srcId="{E6907C63-A233-4DAE-B96D-589B5E60B434}" destId="{1D106DD1-2D3A-4EAC-B3CC-942B5CA4B912}" srcOrd="0" destOrd="0" presId="urn:microsoft.com/office/officeart/2005/8/layout/gear1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E9E4E4F9-A1CB-47A3-97A2-7F3213C64078}" type="presParOf" srcId="{2EA225CC-2E49-44ED-8CC1-3CCBF84AD379}" destId="{D9CF0B2A-E4E4-4B79-9291-B91AB5224007}" srcOrd="0" destOrd="0" presId="urn:microsoft.com/office/officeart/2005/8/layout/gear1"/>
    <dgm:cxn modelId="{5A12B147-DA8C-46E0-B262-5F673841ECEE}" type="presParOf" srcId="{2EA225CC-2E49-44ED-8CC1-3CCBF84AD379}" destId="{1C9BEAEE-8AF8-4D52-8651-CC1937F1A321}" srcOrd="1" destOrd="0" presId="urn:microsoft.com/office/officeart/2005/8/layout/gear1"/>
    <dgm:cxn modelId="{7262F1AD-7A44-4015-9517-516D72C40FBF}" type="presParOf" srcId="{2EA225CC-2E49-44ED-8CC1-3CCBF84AD379}" destId="{8DC6C1E0-B984-4F7F-A090-7E6A8EDF7369}" srcOrd="2" destOrd="0" presId="urn:microsoft.com/office/officeart/2005/8/layout/gear1"/>
    <dgm:cxn modelId="{E5C2DCB0-3B8A-4715-B8E0-9599405EAA8C}" type="presParOf" srcId="{2EA225CC-2E49-44ED-8CC1-3CCBF84AD379}" destId="{E2C9D73F-FB76-4109-9C3B-CDD964B9A9DF}" srcOrd="3" destOrd="0" presId="urn:microsoft.com/office/officeart/2005/8/layout/gear1"/>
    <dgm:cxn modelId="{3015BCB9-1F59-48BC-9ABE-2D4B7E767F5B}" type="presParOf" srcId="{2EA225CC-2E49-44ED-8CC1-3CCBF84AD379}" destId="{9508E0F8-14DF-4543-B5FB-A17B54BCD50D}" srcOrd="4" destOrd="0" presId="urn:microsoft.com/office/officeart/2005/8/layout/gear1"/>
    <dgm:cxn modelId="{B156EB56-B142-4289-88A8-64F7022C872D}" type="presParOf" srcId="{2EA225CC-2E49-44ED-8CC1-3CCBF84AD379}" destId="{00883E4F-EDF6-4DBF-8F50-80F81724BAB1}" srcOrd="5" destOrd="0" presId="urn:microsoft.com/office/officeart/2005/8/layout/gear1"/>
    <dgm:cxn modelId="{FA66FEE2-18D7-4B29-A6D8-A3BE4EFED7D5}" type="presParOf" srcId="{2EA225CC-2E49-44ED-8CC1-3CCBF84AD379}" destId="{2427AE9A-B7B7-44EE-9688-471A19F67348}" srcOrd="6" destOrd="0" presId="urn:microsoft.com/office/officeart/2005/8/layout/gear1"/>
    <dgm:cxn modelId="{9C66BBC5-2533-4F85-AFF8-DB2E4068BE06}" type="presParOf" srcId="{2EA225CC-2E49-44ED-8CC1-3CCBF84AD379}" destId="{473C5192-4D9E-4697-8CA4-283C87844328}" srcOrd="7" destOrd="0" presId="urn:microsoft.com/office/officeart/2005/8/layout/gear1"/>
    <dgm:cxn modelId="{274DD21C-9A6C-4047-9743-398D700790B3}" type="presParOf" srcId="{2EA225CC-2E49-44ED-8CC1-3CCBF84AD379}" destId="{BD007EEB-61A5-4C7D-B8A4-8E994164C878}" srcOrd="8" destOrd="0" presId="urn:microsoft.com/office/officeart/2005/8/layout/gear1"/>
    <dgm:cxn modelId="{CE00BA37-9236-4AD1-9CF4-1A86986491CA}" type="presParOf" srcId="{2EA225CC-2E49-44ED-8CC1-3CCBF84AD379}" destId="{746F4FA9-5757-4AAD-9A04-5E552DBB9F9F}" srcOrd="9" destOrd="0" presId="urn:microsoft.com/office/officeart/2005/8/layout/gear1"/>
    <dgm:cxn modelId="{83D20EF7-4BEF-4E01-8582-7BF42E3D9A75}" type="presParOf" srcId="{2EA225CC-2E49-44ED-8CC1-3CCBF84AD379}" destId="{1D106DD1-2D3A-4EAC-B3CC-942B5CA4B912}" srcOrd="10" destOrd="0" presId="urn:microsoft.com/office/officeart/2005/8/layout/gear1"/>
    <dgm:cxn modelId="{B24DEB35-098B-41BD-A686-0819320EF555}" type="presParOf" srcId="{2EA225CC-2E49-44ED-8CC1-3CCBF84AD379}" destId="{0D328973-7EA0-4BDA-8345-B35D0D5F9918}" srcOrd="11" destOrd="0" presId="urn:microsoft.com/office/officeart/2005/8/layout/gear1"/>
    <dgm:cxn modelId="{7D3110C3-98D4-4A9D-BC36-50D6DDC19520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711D4C6-D338-4847-B061-27DD1472B85F}" type="presOf" srcId="{4314EE2F-1D85-463E-BD29-E4D93DDC1295}" destId="{64433F73-E662-4882-9F7F-758FD3AE30B7}" srcOrd="0" destOrd="0" presId="urn:microsoft.com/office/officeart/2005/8/layout/pyramid4"/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5778E19C-728F-4C74-A6A6-9DA39A3B0477}" type="presOf" srcId="{CCAFF948-E824-4B26-BEF8-E377FB33BB79}" destId="{0DA0B4D2-89D2-4A8F-917F-F074B8961B3D}" srcOrd="0" destOrd="0" presId="urn:microsoft.com/office/officeart/2005/8/layout/pyramid4"/>
    <dgm:cxn modelId="{AD0B6CBA-6DB6-4900-858F-9AB170379597}" type="presOf" srcId="{6BBB511E-E8E4-4B74-A314-88D6D7CD540C}" destId="{FCC81336-869F-411B-9391-B04824C3D716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F1D3C4D4-149A-4273-BF03-8329DA4093DD}" type="presOf" srcId="{F9BF7ABB-0667-4304-89B4-F2A4A15BB821}" destId="{C955E634-30BF-4B53-8E9F-76C4E7C0546C}" srcOrd="0" destOrd="0" presId="urn:microsoft.com/office/officeart/2005/8/layout/pyramid4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F8FC8A7E-651D-4E7C-8EAF-288D0EFBFF35}" type="presOf" srcId="{F69F900E-8C12-4BFD-BBDB-E325B9398904}" destId="{B20675A2-03EE-4DCD-82FA-BB78A0EAE284}" srcOrd="0" destOrd="0" presId="urn:microsoft.com/office/officeart/2005/8/layout/pyramid4"/>
    <dgm:cxn modelId="{34686140-70B6-4C0F-9994-794AF746F51B}" type="presParOf" srcId="{B20675A2-03EE-4DCD-82FA-BB78A0EAE284}" destId="{64433F73-E662-4882-9F7F-758FD3AE30B7}" srcOrd="0" destOrd="0" presId="urn:microsoft.com/office/officeart/2005/8/layout/pyramid4"/>
    <dgm:cxn modelId="{9C020C9D-BE43-4BE3-8BE7-5B362A5D9170}" type="presParOf" srcId="{B20675A2-03EE-4DCD-82FA-BB78A0EAE284}" destId="{0DA0B4D2-89D2-4A8F-917F-F074B8961B3D}" srcOrd="1" destOrd="0" presId="urn:microsoft.com/office/officeart/2005/8/layout/pyramid4"/>
    <dgm:cxn modelId="{04954D84-AE25-48AB-BFCE-EB2695CA2B84}" type="presParOf" srcId="{B20675A2-03EE-4DCD-82FA-BB78A0EAE284}" destId="{FCC81336-869F-411B-9391-B04824C3D716}" srcOrd="2" destOrd="0" presId="urn:microsoft.com/office/officeart/2005/8/layout/pyramid4"/>
    <dgm:cxn modelId="{DC425308-D5CB-4E09-A210-4D041B5A449B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image" Target="../media/image13.wmf"/><Relationship Id="rId4" Type="http://schemas.openxmlformats.org/officeDocument/2006/relationships/image" Target="../media/image1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3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3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399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509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005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159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21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197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N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21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2695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6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 dirty="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3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Accenture.</a:t>
            </a:r>
            <a:r>
              <a:rPr lang="en-US" sz="800" b="0" dirty="0" smtClean="0">
                <a:solidFill>
                  <a:schemeClr val="bg1"/>
                </a:solidFill>
              </a:rPr>
              <a:t>f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w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16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wmf"/><Relationship Id="rId11" Type="http://schemas.openxmlformats.org/officeDocument/2006/relationships/oleObject" Target="../embeddings/oleObject12.bin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wmf"/><Relationship Id="rId4" Type="http://schemas.openxmlformats.org/officeDocument/2006/relationships/image" Target="../media/image9.png"/><Relationship Id="rId9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w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w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52026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35220" y="3404952"/>
            <a:ext cx="438132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nhuma alteração foi feita na DAM 20007 pois a coluna INTERFACE_ID é recuperada da coluna ID_PARTICAO.  Esta coluna já tem o tamanho e tipo de dados NUMBER(4).</a:t>
            </a:r>
            <a:endParaRPr lang="pt-BR" sz="1200" dirty="0" smtClean="0"/>
          </a:p>
        </p:txBody>
      </p:sp>
      <p:sp>
        <p:nvSpPr>
          <p:cNvPr id="17" name="Rectangle 16"/>
          <p:cNvSpPr/>
          <p:nvPr/>
        </p:nvSpPr>
        <p:spPr>
          <a:xfrm>
            <a:off x="5147906" y="3003655"/>
            <a:ext cx="31674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5220" y="2073124"/>
            <a:ext cx="57167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CABEÇALHO PARA O ARQUIVO</a:t>
            </a: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47906" y="3404952"/>
            <a:ext cx="273660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1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10314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2590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35220" y="2073124"/>
            <a:ext cx="76029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CABEÇALHO PARA O ARQUIV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pt-BR" sz="1400" dirty="0" smtClean="0">
                <a:latin typeface="Arial" pitchFamily="34" charset="0"/>
                <a:cs typeface="Arial" pitchFamily="34" charset="0"/>
              </a:rPr>
            </a:br>
            <a:r>
              <a:rPr lang="pt-BR" sz="1400" dirty="0" smtClean="0">
                <a:latin typeface="Arial" pitchFamily="34" charset="0"/>
                <a:cs typeface="Arial" pitchFamily="34" charset="0"/>
              </a:rPr>
              <a:t>A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INTERFACE_ID da seção REFERENCIA tem um número de quarto dígitos.  Veja a captura da tela abaixo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220" y="2892229"/>
            <a:ext cx="81438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70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86711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35221" y="2114687"/>
            <a:ext cx="4292911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DADOS DAS TABELAS  CTB_DETALHE_TEMP E CTB_DETALHE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processo foi modificado para aceitar um número de quatro dígitos para INTERFACE_ID das tabelas CTB_DETALHE_TEMP e CTB_DETALHE alterando o tamanho do elemento de NUMBER(2) para NUMBER(4).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09893" y="2734843"/>
            <a:ext cx="3104750" cy="26032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3014556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73649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35220" y="3024922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35220" y="340495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CTB_DETALHE_TEMP</a:t>
            </a:r>
          </a:p>
          <a:p>
            <a:pPr marL="675331" lvl="2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Alterado o tamanho da coluna INTERFACE_ID de NUMBER(2) para NUMBER(4)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2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CTB_DETALHE</a:t>
            </a:r>
          </a:p>
          <a:p>
            <a:pPr marL="675331" lvl="2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Alterado o tamanho da coluna INTERFACE_ID de NUMBER(2) para NUMBER(4).</a:t>
            </a:r>
          </a:p>
          <a:p>
            <a:endParaRPr lang="en-US" sz="1200" dirty="0" smtClean="0"/>
          </a:p>
        </p:txBody>
      </p:sp>
      <p:sp>
        <p:nvSpPr>
          <p:cNvPr id="17" name="Rectangle 16"/>
          <p:cNvSpPr/>
          <p:nvPr/>
        </p:nvSpPr>
        <p:spPr>
          <a:xfrm>
            <a:off x="5147906" y="3003655"/>
            <a:ext cx="31674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87621" y="2114687"/>
            <a:ext cx="442253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DADOS DAS TABELAS CTB_DETALHE_TEMP E CTB_DETALHE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9020215"/>
              </p:ext>
            </p:extLst>
          </p:nvPr>
        </p:nvGraphicFramePr>
        <p:xfrm>
          <a:off x="5147906" y="3404952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7" name="Packager Shell Object" showAsIcon="1" r:id="rId5" imgW="1245960" imgH="685440" progId="Package">
                  <p:embed/>
                </p:oleObj>
              </mc:Choice>
              <mc:Fallback>
                <p:oleObj name="Packager Shell Object" showAsIcon="1" r:id="rId5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147906" y="3404952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34469304"/>
              </p:ext>
            </p:extLst>
          </p:nvPr>
        </p:nvGraphicFramePr>
        <p:xfrm>
          <a:off x="6534779" y="3404952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8" name="Packager Shell Object" showAsIcon="1" r:id="rId7" imgW="1245960" imgH="685440" progId="Package">
                  <p:embed/>
                </p:oleObj>
              </mc:Choice>
              <mc:Fallback>
                <p:oleObj name="Packager Shell Object" showAsIcon="1" r:id="rId7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34779" y="3404952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0164784"/>
              </p:ext>
            </p:extLst>
          </p:nvPr>
        </p:nvGraphicFramePr>
        <p:xfrm>
          <a:off x="5144976" y="4184272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9" name="Packager Shell Object" showAsIcon="1" r:id="rId9" imgW="1245960" imgH="685440" progId="Package">
                  <p:embed/>
                </p:oleObj>
              </mc:Choice>
              <mc:Fallback>
                <p:oleObj name="Packager Shell Object" showAsIcon="1" r:id="rId9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144976" y="4184272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5391816"/>
              </p:ext>
            </p:extLst>
          </p:nvPr>
        </p:nvGraphicFramePr>
        <p:xfrm>
          <a:off x="6534779" y="4184272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0" name="Packager Shell Object" showAsIcon="1" r:id="rId11" imgW="1245960" imgH="685440" progId="Package">
                  <p:embed/>
                </p:oleObj>
              </mc:Choice>
              <mc:Fallback>
                <p:oleObj name="Packager Shell Object" showAsIcon="1" r:id="rId11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534779" y="4184272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03440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460586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35221" y="2114687"/>
            <a:ext cx="442253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DETALHES PARA O ARQUIVO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processo foi modificado para permitir que uma parte da seção detalhada aceite um número de quarto dígitos para INTERFACE_ID que é parte do campo REFERENCIA alterando o tamanho da variável de NUMBER(2) para NUMBER(4).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09893" y="2734843"/>
            <a:ext cx="3104750" cy="31214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eudo-código &lt;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P_INT_Processa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gt;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CI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crever detalhes para o arquivo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TIPO_DOC 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doc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REFERENCIA consiste no seguinte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E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 DAM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06 (IF_SITES.site)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ER_ID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er_id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FACE_ID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 DAM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07 (CTB_TIPO_INTERFACE.id_particao). 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erar o tamanho da variável de NUMBER(2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MBER(4)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DOC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doc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O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ano d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_cont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_DIA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mês e dia d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_cont&gt;</a:t>
            </a: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NOME_PROCESSO 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apa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78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2590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35220" y="3404952"/>
            <a:ext cx="4572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Nenhuma alteração foi feita na DAM 20007 pois a coluna INTERFACE_ID é recuperada da coluna ID_PARTICAO.  Esta coluna já tem um tamanho e tipo de dados NUMBER(4).</a:t>
            </a:r>
            <a:endParaRPr lang="pt-BR" sz="1200" dirty="0"/>
          </a:p>
        </p:txBody>
      </p:sp>
      <p:sp>
        <p:nvSpPr>
          <p:cNvPr id="17" name="Rectangle 16"/>
          <p:cNvSpPr/>
          <p:nvPr/>
        </p:nvSpPr>
        <p:spPr>
          <a:xfrm>
            <a:off x="5147906" y="3003655"/>
            <a:ext cx="31674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5220" y="2073124"/>
            <a:ext cx="544123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DETALHES PARA O ARQUIV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47906" y="3404952"/>
            <a:ext cx="273660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100" dirty="0" smtClean="0">
                <a:latin typeface="Arial" pitchFamily="34" charset="0"/>
                <a:cs typeface="Arial" pitchFamily="34" charset="0"/>
              </a:rPr>
              <a:t>N/A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203799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12837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35220" y="2073124"/>
            <a:ext cx="6803144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DETALHES PARA O ARQUIVO</a:t>
            </a:r>
          </a:p>
          <a:p>
            <a:r>
              <a:rPr lang="pt-BR" sz="14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pt-BR" sz="1400" dirty="0" smtClean="0">
                <a:latin typeface="Arial" pitchFamily="34" charset="0"/>
                <a:cs typeface="Arial" pitchFamily="34" charset="0"/>
              </a:rPr>
            </a:br>
            <a:r>
              <a:rPr lang="pt-BR" sz="1400" dirty="0" smtClean="0">
                <a:latin typeface="Arial" pitchFamily="34" charset="0"/>
                <a:cs typeface="Arial" pitchFamily="34" charset="0"/>
              </a:rPr>
              <a:t>A</a:t>
            </a:r>
            <a:r>
              <a:rPr lang="pt-BR" sz="1100" dirty="0" smtClean="0">
                <a:latin typeface="Arial" pitchFamily="34" charset="0"/>
                <a:cs typeface="Arial" pitchFamily="34" charset="0"/>
              </a:rPr>
              <a:t> INTERFACE_ID da seção REFERENCIA tem um número de quatro dígitos. Veja a captura de tela abaixo.</a:t>
            </a:r>
            <a:endParaRPr lang="pt-BR" sz="11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012" y="3033712"/>
            <a:ext cx="8181975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63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58637" y="1587139"/>
            <a:ext cx="6928138" cy="3748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 de CONTABILIDADE</a:t>
            </a: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módulo extrai a informação financeira nos itens faturados da contabilidade no Arbor e gera relatórios financeiros que são enviados para o SAP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67618" algn="just">
              <a:lnSpc>
                <a:spcPct val="107000"/>
              </a:lnSpc>
            </a:pP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pos de Documento:</a:t>
            </a:r>
          </a:p>
          <a:p>
            <a:pPr marL="67618" algn="just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K - Valores faturados de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C’s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 - Valores faturados de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RC’s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M - Valores faturados Uso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P - Valores faturados Uso TELEMAR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H - Valores a apropriar de NRC’S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 - Valores a apropriar de Uso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 - Valores Contestados (Ajuste)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T - Receita/Impostos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F - Faturamento indevido, usado para ajustes aprovados/negados </a:t>
            </a:r>
          </a:p>
          <a:p>
            <a:pPr marL="239068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C - Valores a </a:t>
            </a:r>
            <a:r>
              <a:rPr lang="pt-BR" sz="1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faturar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, usado para ICMS apropriado</a:t>
            </a: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 algn="just">
              <a:lnSpc>
                <a:spcPct val="107000"/>
              </a:lnSpc>
            </a:pP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 algn="just">
              <a:lnSpc>
                <a:spcPct val="107000"/>
              </a:lnSpc>
            </a:pP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58637" y="5012178"/>
            <a:ext cx="6928138" cy="783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s para demanda do #P</a:t>
            </a:r>
          </a:p>
          <a:p>
            <a:pPr marL="67618" algn="just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a implantação do produto TV, novas interfaces foram criadas na Contabilidade. Essas interfaces foram necessárias para separar os itens de TV faturados no Arbor.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70363303"/>
              </p:ext>
            </p:extLst>
          </p:nvPr>
        </p:nvGraphicFramePr>
        <p:xfrm>
          <a:off x="308264" y="149051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569218123"/>
              </p:ext>
            </p:extLst>
          </p:nvPr>
        </p:nvGraphicFramePr>
        <p:xfrm>
          <a:off x="97529" y="4917109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0" y="1398866"/>
            <a:ext cx="9141069" cy="367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Programas e fluxos de CONTABILIDADE</a:t>
            </a:r>
          </a:p>
        </p:txBody>
      </p:sp>
      <p:sp>
        <p:nvSpPr>
          <p:cNvPr id="9" name="Rectangle 8"/>
          <p:cNvSpPr/>
          <p:nvPr/>
        </p:nvSpPr>
        <p:spPr>
          <a:xfrm>
            <a:off x="2930" y="2436195"/>
            <a:ext cx="42282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 Impactados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cb_ind_financ.sh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43500" y="2439227"/>
            <a:ext cx="18373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módulo</a:t>
            </a:r>
            <a:endParaRPr lang="pt-BR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05425" y="3086100"/>
            <a:ext cx="1895475" cy="5238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Extractor (CTB_DETALHE_TEMP)</a:t>
            </a:r>
          </a:p>
        </p:txBody>
      </p:sp>
      <p:sp>
        <p:nvSpPr>
          <p:cNvPr id="10" name="Rectangle 9"/>
          <p:cNvSpPr/>
          <p:nvPr/>
        </p:nvSpPr>
        <p:spPr>
          <a:xfrm>
            <a:off x="5206030" y="4018271"/>
            <a:ext cx="2085023" cy="5238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bp_int_cb_ind_financ.sh</a:t>
            </a:r>
          </a:p>
        </p:txBody>
      </p:sp>
      <p:sp>
        <p:nvSpPr>
          <p:cNvPr id="6" name="Flowchart: Punched Tape 5"/>
          <p:cNvSpPr/>
          <p:nvPr/>
        </p:nvSpPr>
        <p:spPr>
          <a:xfrm>
            <a:off x="5536069" y="4972050"/>
            <a:ext cx="1424940" cy="628650"/>
          </a:xfrm>
          <a:prstGeom prst="flowChartPunchedTape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Relatórios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Financeiro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>
            <a:stCxn id="5" idx="2"/>
            <a:endCxn id="10" idx="0"/>
          </p:cNvCxnSpPr>
          <p:nvPr/>
        </p:nvCxnSpPr>
        <p:spPr>
          <a:xfrm flipH="1">
            <a:off x="6248542" y="3609975"/>
            <a:ext cx="4621" cy="408296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0" idx="2"/>
            <a:endCxn id="6" idx="0"/>
          </p:cNvCxnSpPr>
          <p:nvPr/>
        </p:nvCxnSpPr>
        <p:spPr>
          <a:xfrm flipH="1">
            <a:off x="6248539" y="4542146"/>
            <a:ext cx="3" cy="492769"/>
          </a:xfrm>
          <a:prstGeom prst="straightConnector1">
            <a:avLst/>
          </a:prstGeom>
          <a:ln w="1270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621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2414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 básica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programa extrai itens faturados da contabilidade na tabela CTB_DETALHE_TEMP e gera declarações financeiras para ser enviadas ao Sistema SAP-BW. Ele gera arquivos por Site, documento e por empresa de faturamento (Oi Fixo e Oi Móvel).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dados extraídos são consolidados de acordo com sua Unidade de Negócio, Sites, Centro de Custo e Segmento de Cliente (onde Unidades de negócios e Centro de Cliente são selecionados da tabela IF_UN, sites da IF_SITES e o segmento de cliente da TB_CFG_CD_SEG_CLIENTE)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tipos de documentos são configurados na tabela </a:t>
            </a:r>
            <a:r>
              <a:rPr lang="en-US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TB_TIPO_DOCUMENTO.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0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7892" y="2148562"/>
            <a:ext cx="5041400" cy="2414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 para o #P:</a:t>
            </a:r>
          </a:p>
          <a:p>
            <a:pPr marL="846781" lvl="2" algn="just">
              <a:lnSpc>
                <a:spcPct val="107000"/>
              </a:lnSpc>
            </a:pP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 a demanda #P introduziu novos Ids de interface que já são códigos de três dígitos, as tabelas que detêm estas informações também foram alteradas, alterando o tamanho do campo INTERFACE_ID das tabelas personalizadas utilizadas na Contabilidade.  Algumas destas tabelas são CTB_STATUS, CTB_DETALHE_TEMP, CTB_DETALHE e CTB_TIPO_INTERFACE.</a:t>
            </a:r>
          </a:p>
          <a:p>
            <a:pPr marL="846781" lvl="2" algn="just">
              <a:lnSpc>
                <a:spcPct val="107000"/>
              </a:lnSpc>
            </a:pPr>
            <a:endParaRPr lang="pt-BR" sz="11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1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esta alteração, este programa foi modificado para tratar o novo tamanho da coluna INTERFACE_ID que é de NUMBER(2) para NUMBER(4).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18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76332" y="1737545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 do 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276335" y="2259452"/>
            <a:ext cx="2263981" cy="272170"/>
          </a:xfrm>
          <a:prstGeom prst="rect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Extrair</a:t>
            </a:r>
            <a:r>
              <a:rPr lang="en-US" sz="1100" dirty="0">
                <a:solidFill>
                  <a:schemeClr val="tx1"/>
                </a:solidFill>
              </a:rPr>
              <a:t> ID de interface e site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76334" y="2811902"/>
            <a:ext cx="2263982" cy="243595"/>
          </a:xfrm>
          <a:prstGeom prst="rect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Escrever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dirty="0" err="1">
                <a:solidFill>
                  <a:schemeClr val="tx1"/>
                </a:solidFill>
              </a:rPr>
              <a:t>cabeçalho</a:t>
            </a:r>
            <a:r>
              <a:rPr lang="en-US" sz="1100" dirty="0">
                <a:solidFill>
                  <a:schemeClr val="tx1"/>
                </a:solidFill>
              </a:rPr>
              <a:t> no </a:t>
            </a:r>
            <a:r>
              <a:rPr lang="en-US" sz="1100" dirty="0" err="1">
                <a:solidFill>
                  <a:schemeClr val="tx1"/>
                </a:solidFill>
              </a:rPr>
              <a:t>arquivo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76333" y="3364352"/>
            <a:ext cx="2263983" cy="443620"/>
          </a:xfrm>
          <a:prstGeom prst="rect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Extrais dados das tabelas CTB_DETALHE_TMP e CTB_DETALHE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76335" y="4154927"/>
            <a:ext cx="2263981" cy="329320"/>
          </a:xfrm>
          <a:prstGeom prst="rect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Escrever detalhes para o arquivo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276335" y="4831202"/>
            <a:ext cx="2263981" cy="30074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Escrever trailer para o arquivo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76332" y="5493897"/>
            <a:ext cx="2263984" cy="4436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Mover o arquivo para o diretório de saída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285856" y="6227322"/>
            <a:ext cx="2244935" cy="37147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50" dirty="0">
                <a:solidFill>
                  <a:schemeClr val="tx1"/>
                </a:solidFill>
              </a:rPr>
              <a:t>Inserir o registro na tabela IF_EXEC.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/>
          <p:cNvCxnSpPr>
            <a:stCxn id="3" idx="2"/>
            <a:endCxn id="8" idx="0"/>
          </p:cNvCxnSpPr>
          <p:nvPr/>
        </p:nvCxnSpPr>
        <p:spPr>
          <a:xfrm flipH="1">
            <a:off x="4408325" y="2531622"/>
            <a:ext cx="1" cy="28028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8" idx="2"/>
            <a:endCxn id="9" idx="0"/>
          </p:cNvCxnSpPr>
          <p:nvPr/>
        </p:nvCxnSpPr>
        <p:spPr>
          <a:xfrm>
            <a:off x="4408325" y="3055497"/>
            <a:ext cx="0" cy="308855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9" idx="2"/>
            <a:endCxn id="10" idx="0"/>
          </p:cNvCxnSpPr>
          <p:nvPr/>
        </p:nvCxnSpPr>
        <p:spPr>
          <a:xfrm>
            <a:off x="4408325" y="3807972"/>
            <a:ext cx="1" cy="346955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0" idx="2"/>
            <a:endCxn id="12" idx="0"/>
          </p:cNvCxnSpPr>
          <p:nvPr/>
        </p:nvCxnSpPr>
        <p:spPr>
          <a:xfrm>
            <a:off x="4408326" y="4484247"/>
            <a:ext cx="0" cy="346955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2" idx="2"/>
            <a:endCxn id="13" idx="0"/>
          </p:cNvCxnSpPr>
          <p:nvPr/>
        </p:nvCxnSpPr>
        <p:spPr>
          <a:xfrm flipH="1">
            <a:off x="4408324" y="5131947"/>
            <a:ext cx="2" cy="36195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3" idx="2"/>
            <a:endCxn id="14" idx="0"/>
          </p:cNvCxnSpPr>
          <p:nvPr/>
        </p:nvCxnSpPr>
        <p:spPr>
          <a:xfrm>
            <a:off x="4408324" y="5937517"/>
            <a:ext cx="0" cy="289805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67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5010151" y="2053050"/>
            <a:ext cx="31047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762293" y="2714769"/>
            <a:ext cx="3104750" cy="26032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N/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87621" y="2114687"/>
            <a:ext cx="442253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D DE INTERFACE E SITE</a:t>
            </a:r>
            <a:endParaRPr lang="pt-BR" sz="1100" dirty="0" smtClean="0">
              <a:latin typeface="Arial" pitchFamily="34" charset="0"/>
              <a:cs typeface="Arial" pitchFamily="34" charset="0"/>
            </a:endParaRPr>
          </a:p>
          <a:p>
            <a:endParaRPr lang="pt-BR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processo foi modificado para aceitar o número de quatro dígitos para coluna INTERFACE_ID das tabelas CTB_STATUS.  O elemento utilizado para a coluna mencionada  foi substituído pelo NUMBER(4).</a:t>
            </a:r>
          </a:p>
        </p:txBody>
      </p:sp>
    </p:spTree>
    <p:extLst>
      <p:ext uri="{BB962C8B-B14F-4D97-AF65-F5344CB8AC3E}">
        <p14:creationId xmlns:p14="http://schemas.microsoft.com/office/powerpoint/2010/main" val="2736166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91214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35220" y="3404952"/>
            <a:ext cx="4572000" cy="7848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CTB_STATUS</a:t>
            </a:r>
          </a:p>
          <a:p>
            <a:pPr marL="675331" lvl="2" indent="-285750">
              <a:buFont typeface="Wingdings" panose="05000000000000000000" pitchFamily="2" charset="2"/>
              <a:buChar char="ü"/>
            </a:pPr>
            <a:r>
              <a:rPr lang="pt-BR" sz="1100" dirty="0" smtClean="0">
                <a:latin typeface="Arial" pitchFamily="34" charset="0"/>
                <a:cs typeface="Arial" pitchFamily="34" charset="0"/>
              </a:rPr>
              <a:t>Alterado o tamanho da coluna INTERFACE_ID de NUMBER(2) para NUMBER(4)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 smtClean="0"/>
          </a:p>
        </p:txBody>
      </p:sp>
      <p:sp>
        <p:nvSpPr>
          <p:cNvPr id="17" name="Rectangle 16"/>
          <p:cNvSpPr/>
          <p:nvPr/>
        </p:nvSpPr>
        <p:spPr>
          <a:xfrm>
            <a:off x="5147906" y="3003655"/>
            <a:ext cx="31674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0662840"/>
              </p:ext>
            </p:extLst>
          </p:nvPr>
        </p:nvGraphicFramePr>
        <p:xfrm>
          <a:off x="5776913" y="3477550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49" name="Packager Shell Object" showAsIcon="1" r:id="rId5" imgW="1245960" imgH="685440" progId="Package">
                  <p:embed/>
                </p:oleObj>
              </mc:Choice>
              <mc:Fallback>
                <p:oleObj name="Packager Shell Object" showAsIcon="1" r:id="rId5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776913" y="3477550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87621" y="2114687"/>
            <a:ext cx="442253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D DE INTERFACE E SITE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5749431"/>
              </p:ext>
            </p:extLst>
          </p:nvPr>
        </p:nvGraphicFramePr>
        <p:xfrm>
          <a:off x="7023100" y="3477550"/>
          <a:ext cx="12461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0" name="Packager Shell Object" showAsIcon="1" r:id="rId7" imgW="1245960" imgH="685440" progId="Package">
                  <p:embed/>
                </p:oleObj>
              </mc:Choice>
              <mc:Fallback>
                <p:oleObj name="Packager Shell Object" showAsIcon="1" r:id="rId7" imgW="1245960" imgH="685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023100" y="3477550"/>
                        <a:ext cx="12461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725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512837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 MÓDULO CUSTOMIZADO - CONTABILIDAD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int_cb_ind_financ.sh</a:t>
            </a:r>
            <a:endParaRPr lang="pt-BR" sz="2000" dirty="0"/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233822" y="2473234"/>
            <a:ext cx="3104750" cy="32531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eudo-código &lt;</a:t>
            </a:r>
            <a:r>
              <a:rPr lang="en-US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P_INT_Processa</a:t>
            </a:r>
            <a:r>
              <a:rPr lang="en-US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gt;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CIO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crever cabeçalho para o arquivo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SITE é igual a DAM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06 (IF_SITES.site)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NOME_PROCESSO 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apa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DATA é igual ao comando da linha de parâmetr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_cont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o REFERENCIA consiste no seguinte: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E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 DAM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06 (IF_SITES.site)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ER_ID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er_id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FACE_ID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 DAM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07 (CTB_TIPO_INTERFACE.id_particao). 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erar o tamanho da variável de NUMBER(2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pt-BR" sz="800" dirty="0" smtClean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</a:t>
            </a:r>
            <a:r>
              <a:rPr lang="pt-BR" sz="8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MBER(4).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DOC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_doc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O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ano do parâmetro da linha de comando 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lt;data_cont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07000"/>
              </a:lnSpc>
            </a:pP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_DIA </a:t>
            </a: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 igual ao mês e dia do parâmetro da linha de comando &lt;</a:t>
            </a:r>
            <a:r>
              <a:rPr lang="pt-BR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_cont&gt;</a:t>
            </a:r>
            <a:endParaRPr lang="en-US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t-BR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35221" y="2114687"/>
            <a:ext cx="4200574" cy="16312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CABEÇALHO PARA O ARQUIVO</a:t>
            </a: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endParaRPr lang="pt-BR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 smtClean="0">
                <a:latin typeface="Arial" pitchFamily="34" charset="0"/>
                <a:cs typeface="Arial" pitchFamily="34" charset="0"/>
              </a:rPr>
              <a:t>Este processo foi modificado para permitir que uma parte da seção do cabeçalho aceite o número de quarto dígitos para INTERFACE_ID que é uma parte do campo REFERENCIA pela alteração do tamanho da variável de NUMBER(2) para NUMBER(4).</a:t>
            </a:r>
          </a:p>
        </p:txBody>
      </p:sp>
    </p:spTree>
    <p:extLst>
      <p:ext uri="{BB962C8B-B14F-4D97-AF65-F5344CB8AC3E}">
        <p14:creationId xmlns:p14="http://schemas.microsoft.com/office/powerpoint/2010/main" val="74723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E4C8ED-9A6B-4E9E-9C9F-CF6FE776D6B3}"/>
</file>

<file path=customXml/itemProps2.xml><?xml version="1.0" encoding="utf-8"?>
<ds:datastoreItem xmlns:ds="http://schemas.openxmlformats.org/officeDocument/2006/customXml" ds:itemID="{D2786AF2-F1DF-406C-AFE4-206740C43600}"/>
</file>

<file path=customXml/itemProps3.xml><?xml version="1.0" encoding="utf-8"?>
<ds:datastoreItem xmlns:ds="http://schemas.openxmlformats.org/officeDocument/2006/customXml" ds:itemID="{5872C164-4DAB-46CD-B9A3-ED911C39D784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2807</TotalTime>
  <Words>1075</Words>
  <Application>Microsoft Office PowerPoint</Application>
  <PresentationFormat>On-screen Show (4:3)</PresentationFormat>
  <Paragraphs>160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ourier New</vt:lpstr>
      <vt:lpstr>Times New Roman</vt:lpstr>
      <vt:lpstr>Wingdings</vt:lpstr>
      <vt:lpstr>Accenture_Image_Pencils_Letter</vt:lpstr>
      <vt:lpstr>Accenture Management Consulting Accordian Leafes</vt:lpstr>
      <vt:lpstr>think-cell Slide</vt:lpstr>
      <vt:lpstr>Packager Shell Object</vt:lpstr>
      <vt:lpstr>PowerPoint Presentation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  <vt:lpstr>TREINAMENTO DO MÓDULO CUSTOMIZADO - CONTABILIDADE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197</cp:revision>
  <dcterms:created xsi:type="dcterms:W3CDTF">2015-07-20T19:08:40Z</dcterms:created>
  <dcterms:modified xsi:type="dcterms:W3CDTF">2015-11-30T17:2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